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71" r:id="rId2"/>
  </p:sldMasterIdLst>
  <p:notesMasterIdLst>
    <p:notesMasterId r:id="rId7"/>
  </p:notesMasterIdLst>
  <p:handoutMasterIdLst>
    <p:handoutMasterId r:id="rId8"/>
  </p:handoutMasterIdLst>
  <p:sldIdLst>
    <p:sldId id="311" r:id="rId3"/>
    <p:sldId id="498" r:id="rId4"/>
    <p:sldId id="501" r:id="rId5"/>
    <p:sldId id="435" r:id="rId6"/>
  </p:sldIdLst>
  <p:sldSz cx="12188825" cy="6858000"/>
  <p:notesSz cx="7010400" cy="9296400"/>
  <p:custDataLst>
    <p:tags r:id="rId9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2784" userDrawn="1">
          <p15:clr>
            <a:srgbClr val="A4A3A4"/>
          </p15:clr>
        </p15:guide>
        <p15:guide id="3" orient="horz" pos="3960" userDrawn="1">
          <p15:clr>
            <a:srgbClr val="A4A3A4"/>
          </p15:clr>
        </p15:guide>
        <p15:guide id="4" orient="horz" pos="2496" userDrawn="1">
          <p15:clr>
            <a:srgbClr val="A4A3A4"/>
          </p15:clr>
        </p15:guide>
        <p15:guide id="5" orient="horz" pos="2904" userDrawn="1">
          <p15:clr>
            <a:srgbClr val="A4A3A4"/>
          </p15:clr>
        </p15:guide>
        <p15:guide id="6" orient="horz" pos="2376" userDrawn="1">
          <p15:clr>
            <a:srgbClr val="A4A3A4"/>
          </p15:clr>
        </p15:guide>
        <p15:guide id="7" pos="3841">
          <p15:clr>
            <a:srgbClr val="A4A3A4"/>
          </p15:clr>
        </p15:guide>
        <p15:guide id="8" pos="246">
          <p15:clr>
            <a:srgbClr val="A4A3A4"/>
          </p15:clr>
        </p15:guide>
        <p15:guide id="9" pos="3949">
          <p15:clr>
            <a:srgbClr val="A4A3A4"/>
          </p15:clr>
        </p15:guide>
        <p15:guide id="10" pos="3733">
          <p15:clr>
            <a:srgbClr val="A4A3A4"/>
          </p15:clr>
        </p15:guide>
        <p15:guide id="11" pos="74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8C7"/>
    <a:srgbClr val="333333"/>
    <a:srgbClr val="1D2535"/>
    <a:srgbClr val="B70132"/>
    <a:srgbClr val="043B74"/>
    <a:srgbClr val="691E7C"/>
    <a:srgbClr val="AF1C63"/>
    <a:srgbClr val="ED771A"/>
    <a:srgbClr val="000000"/>
    <a:srgbClr val="44D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60" autoAdjust="0"/>
    <p:restoredTop sz="94095" autoAdjust="0"/>
  </p:normalViewPr>
  <p:slideViewPr>
    <p:cSldViewPr snapToGrid="0">
      <p:cViewPr varScale="1">
        <p:scale>
          <a:sx n="70" d="100"/>
          <a:sy n="70" d="100"/>
        </p:scale>
        <p:origin x="788" y="60"/>
      </p:cViewPr>
      <p:guideLst>
        <p:guide orient="horz"/>
        <p:guide orient="horz" pos="2784"/>
        <p:guide orient="horz" pos="3960"/>
        <p:guide orient="horz" pos="2496"/>
        <p:guide orient="horz" pos="2904"/>
        <p:guide orient="horz" pos="2376"/>
        <p:guide pos="3841"/>
        <p:guide pos="246"/>
        <p:guide pos="3949"/>
        <p:guide pos="3733"/>
        <p:guide pos="7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1580" y="-135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7010400" cy="464315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3/1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000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emf"/><Relationship Id="rId1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7.png"/><Relationship Id="rId2" Type="http://schemas.openxmlformats.org/officeDocument/2006/relationships/tags" Target="../tags/tag9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3.jpg"/><Relationship Id="rId5" Type="http://schemas.openxmlformats.org/officeDocument/2006/relationships/tags" Target="../tags/tag12.xml"/><Relationship Id="rId15" Type="http://schemas.openxmlformats.org/officeDocument/2006/relationships/image" Target="../media/image5.emf"/><Relationship Id="rId10" Type="http://schemas.openxmlformats.org/officeDocument/2006/relationships/slideMaster" Target="../slideMasters/slideMaster1.xml"/><Relationship Id="rId19" Type="http://schemas.openxmlformats.org/officeDocument/2006/relationships/image" Target="../media/image9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4.bin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tags" Target="../tags/tag42.xml"/><Relationship Id="rId11" Type="http://schemas.openxmlformats.org/officeDocument/2006/relationships/image" Target="../media/image15.png"/><Relationship Id="rId5" Type="http://schemas.openxmlformats.org/officeDocument/2006/relationships/tags" Target="../tags/tag41.xml"/><Relationship Id="rId10" Type="http://schemas.openxmlformats.org/officeDocument/2006/relationships/hyperlink" Target="http://www.capgemini.com/" TargetMode="Externa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4.xml"/><Relationship Id="rId7" Type="http://schemas.openxmlformats.org/officeDocument/2006/relationships/hyperlink" Target="http://www.capgemini.com/" TargetMode="External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07"/>
          <a:stretch/>
        </p:blipFill>
        <p:spPr>
          <a:xfrm>
            <a:off x="0" y="1193800"/>
            <a:ext cx="12192000" cy="56642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2526" y="1179232"/>
            <a:ext cx="12193470" cy="522156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chemeClr val="tx1">
                  <a:alpha val="88000"/>
                </a:schemeClr>
              </a:gs>
              <a:gs pos="65000">
                <a:schemeClr val="tx1">
                  <a:alpha val="55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 30"/>
          <p:cNvSpPr/>
          <p:nvPr userDrawn="1"/>
        </p:nvSpPr>
        <p:spPr>
          <a:xfrm flipH="1">
            <a:off x="-3" y="3"/>
            <a:ext cx="11290436" cy="6400797"/>
          </a:xfrm>
          <a:custGeom>
            <a:avLst/>
            <a:gdLst>
              <a:gd name="connsiteX0" fmla="*/ 7628699 w 10752898"/>
              <a:gd name="connsiteY0" fmla="*/ 0 h 6857999"/>
              <a:gd name="connsiteX1" fmla="*/ 0 w 10752898"/>
              <a:gd name="connsiteY1" fmla="*/ 0 h 6857999"/>
              <a:gd name="connsiteX2" fmla="*/ 6857999 w 10752898"/>
              <a:gd name="connsiteY2" fmla="*/ 6857999 h 6857999"/>
              <a:gd name="connsiteX3" fmla="*/ 10752898 w 10752898"/>
              <a:gd name="connsiteY3" fmla="*/ 6857999 h 6857999"/>
              <a:gd name="connsiteX4" fmla="*/ 10752898 w 10752898"/>
              <a:gd name="connsiteY4" fmla="*/ 3124199 h 6857999"/>
              <a:gd name="connsiteX5" fmla="*/ 7628699 w 10752898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2898" h="6857999">
                <a:moveTo>
                  <a:pt x="7628699" y="0"/>
                </a:moveTo>
                <a:lnTo>
                  <a:pt x="0" y="0"/>
                </a:lnTo>
                <a:lnTo>
                  <a:pt x="6857999" y="6857999"/>
                </a:lnTo>
                <a:lnTo>
                  <a:pt x="10752898" y="6857999"/>
                </a:lnTo>
                <a:lnTo>
                  <a:pt x="10752898" y="3124199"/>
                </a:lnTo>
                <a:lnTo>
                  <a:pt x="7628699" y="0"/>
                </a:lnTo>
                <a:close/>
              </a:path>
            </a:pathLst>
          </a:cu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525" y="13"/>
            <a:ext cx="12195119" cy="252323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6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526" y="1179232"/>
            <a:ext cx="12193471" cy="1344007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384005" y="2927384"/>
            <a:ext cx="4640267" cy="890905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1384005" y="4807242"/>
            <a:ext cx="3775247" cy="551527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21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4988" y="548640"/>
            <a:ext cx="3151163" cy="656814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 userDrawn="1">
            <p:custDataLst>
              <p:tags r:id="rId8"/>
            </p:custDataLst>
          </p:nvPr>
        </p:nvSpPr>
        <p:spPr>
          <a:xfrm>
            <a:off x="0" y="6400800"/>
            <a:ext cx="12190944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/>
          </a:p>
        </p:txBody>
      </p:sp>
      <p:pic>
        <p:nvPicPr>
          <p:cNvPr id="23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1716" y="6500818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oup 23"/>
          <p:cNvGrpSpPr/>
          <p:nvPr userDrawn="1"/>
        </p:nvGrpSpPr>
        <p:grpSpPr>
          <a:xfrm>
            <a:off x="0" y="5612920"/>
            <a:ext cx="4356417" cy="946718"/>
            <a:chOff x="0" y="5435120"/>
            <a:chExt cx="4356417" cy="946718"/>
          </a:xfrm>
        </p:grpSpPr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1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219" y="5467438"/>
              <a:ext cx="1380226" cy="914400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 userDrawn="1"/>
          </p:nvGrpSpPr>
          <p:grpSpPr>
            <a:xfrm>
              <a:off x="0" y="5435120"/>
              <a:ext cx="4356417" cy="914400"/>
              <a:chOff x="0" y="5435120"/>
              <a:chExt cx="4356417" cy="914400"/>
            </a:xfrm>
          </p:grpSpPr>
          <p:pic>
            <p:nvPicPr>
              <p:cNvPr id="27" name="Picture 26"/>
              <p:cNvPicPr>
                <a:picLocks noChangeAspect="1"/>
              </p:cNvPicPr>
              <p:nvPr userDrawn="1"/>
            </p:nvPicPr>
            <p:blipFill>
              <a:blip r:embed="rId1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76191" y="5435120"/>
                <a:ext cx="1380226" cy="914400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 userDrawn="1"/>
            </p:nvPicPr>
            <p:blipFill>
              <a:blip r:embed="rId18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3455" y="5511900"/>
                <a:ext cx="1236302" cy="819050"/>
              </a:xfrm>
              <a:prstGeom prst="rect">
                <a:avLst/>
              </a:prstGeom>
            </p:spPr>
          </p:pic>
          <p:cxnSp>
            <p:nvCxnSpPr>
              <p:cNvPr id="29" name="Straight Connector 28"/>
              <p:cNvCxnSpPr/>
              <p:nvPr userDrawn="1"/>
            </p:nvCxnSpPr>
            <p:spPr>
              <a:xfrm>
                <a:off x="0" y="6149975"/>
                <a:ext cx="379730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0" name="Picture 29"/>
              <p:cNvPicPr>
                <a:picLocks noChangeAspect="1"/>
              </p:cNvPicPr>
              <p:nvPr userDrawn="1"/>
            </p:nvPicPr>
            <p:blipFill>
              <a:blip r:embed="rId19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7105" y="5505426"/>
                <a:ext cx="812823" cy="812823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effectLst/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233" y="1533439"/>
            <a:ext cx="5539650" cy="471550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0345" y="1533440"/>
            <a:ext cx="5539650" cy="472558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0" y="1003878"/>
            <a:ext cx="10950498" cy="931333"/>
          </a:xfrm>
          <a:prstGeom prst="rect">
            <a:avLst/>
          </a:prstGeom>
          <a:solidFill>
            <a:srgbClr val="0098C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sp>
        <p:nvSpPr>
          <p:cNvPr id="25" name="Oval 22"/>
          <p:cNvSpPr/>
          <p:nvPr userDrawn="1"/>
        </p:nvSpPr>
        <p:spPr>
          <a:xfrm rot="3396601">
            <a:off x="10407821" y="1235024"/>
            <a:ext cx="1794243" cy="934590"/>
          </a:xfrm>
          <a:custGeom>
            <a:avLst/>
            <a:gdLst>
              <a:gd name="connsiteX0" fmla="*/ 0 w 2155151"/>
              <a:gd name="connsiteY0" fmla="*/ 1077576 h 2155151"/>
              <a:gd name="connsiteX1" fmla="*/ 1077576 w 2155151"/>
              <a:gd name="connsiteY1" fmla="*/ 0 h 2155151"/>
              <a:gd name="connsiteX2" fmla="*/ 2155152 w 2155151"/>
              <a:gd name="connsiteY2" fmla="*/ 1077576 h 2155151"/>
              <a:gd name="connsiteX3" fmla="*/ 1077576 w 2155151"/>
              <a:gd name="connsiteY3" fmla="*/ 2155152 h 2155151"/>
              <a:gd name="connsiteX4" fmla="*/ 0 w 2155151"/>
              <a:gd name="connsiteY4" fmla="*/ 1077576 h 2155151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4" fmla="*/ 1169016 w 2155152"/>
              <a:gd name="connsiteY4" fmla="*/ 91440 h 2155152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0" fmla="*/ 2155152 w 2155152"/>
              <a:gd name="connsiteY0" fmla="*/ 0 h 1077576"/>
              <a:gd name="connsiteX1" fmla="*/ 1077576 w 2155152"/>
              <a:gd name="connsiteY1" fmla="*/ 1077576 h 1077576"/>
              <a:gd name="connsiteX2" fmla="*/ 0 w 2155152"/>
              <a:gd name="connsiteY2" fmla="*/ 0 h 107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5152" h="1077576">
                <a:moveTo>
                  <a:pt x="2155152" y="0"/>
                </a:moveTo>
                <a:cubicBezTo>
                  <a:pt x="2155152" y="595129"/>
                  <a:pt x="1672705" y="1077576"/>
                  <a:pt x="1077576" y="1077576"/>
                </a:cubicBezTo>
                <a:cubicBezTo>
                  <a:pt x="482447" y="1077576"/>
                  <a:pt x="0" y="595129"/>
                  <a:pt x="0" y="0"/>
                </a:cubicBezTo>
              </a:path>
            </a:pathLst>
          </a:custGeom>
          <a:solidFill>
            <a:sysClr val="window" lastClr="FFFFFF"/>
          </a:solidFill>
          <a:ln w="12700" cap="flat" cmpd="sng" algn="ctr">
            <a:solidFill>
              <a:srgbClr val="0098C7"/>
            </a:solidFill>
            <a:prstDash val="dash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grpSp>
        <p:nvGrpSpPr>
          <p:cNvPr id="30" name="Groupe 566"/>
          <p:cNvGrpSpPr/>
          <p:nvPr userDrawn="1"/>
        </p:nvGrpSpPr>
        <p:grpSpPr>
          <a:xfrm>
            <a:off x="11159004" y="1377942"/>
            <a:ext cx="739257" cy="512665"/>
            <a:chOff x="2613026" y="2713038"/>
            <a:chExt cx="414338" cy="287338"/>
          </a:xfrm>
        </p:grpSpPr>
        <p:sp>
          <p:nvSpPr>
            <p:cNvPr id="31" name="Freeform 302"/>
            <p:cNvSpPr>
              <a:spLocks/>
            </p:cNvSpPr>
            <p:nvPr/>
          </p:nvSpPr>
          <p:spPr bwMode="auto">
            <a:xfrm>
              <a:off x="2613026" y="2817813"/>
              <a:ext cx="414338" cy="182563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5"/>
                </a:cxn>
                <a:cxn ang="0">
                  <a:pos x="0" y="115"/>
                </a:cxn>
                <a:cxn ang="0">
                  <a:pos x="19" y="92"/>
                </a:cxn>
              </a:cxnLst>
              <a:rect l="0" t="0" r="r" b="b"/>
              <a:pathLst>
                <a:path w="261" h="115">
                  <a:moveTo>
                    <a:pt x="241" y="0"/>
                  </a:moveTo>
                  <a:lnTo>
                    <a:pt x="261" y="0"/>
                  </a:lnTo>
                  <a:lnTo>
                    <a:pt x="149" y="115"/>
                  </a:lnTo>
                  <a:lnTo>
                    <a:pt x="0" y="115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Freeform 303"/>
            <p:cNvSpPr>
              <a:spLocks/>
            </p:cNvSpPr>
            <p:nvPr/>
          </p:nvSpPr>
          <p:spPr bwMode="auto">
            <a:xfrm>
              <a:off x="2613026" y="2784475"/>
              <a:ext cx="414338" cy="180975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4"/>
                </a:cxn>
                <a:cxn ang="0">
                  <a:pos x="0" y="114"/>
                </a:cxn>
                <a:cxn ang="0">
                  <a:pos x="19" y="92"/>
                </a:cxn>
              </a:cxnLst>
              <a:rect l="0" t="0" r="r" b="b"/>
              <a:pathLst>
                <a:path w="261" h="114">
                  <a:moveTo>
                    <a:pt x="241" y="0"/>
                  </a:moveTo>
                  <a:lnTo>
                    <a:pt x="261" y="0"/>
                  </a:lnTo>
                  <a:lnTo>
                    <a:pt x="149" y="114"/>
                  </a:lnTo>
                  <a:lnTo>
                    <a:pt x="0" y="114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Freeform 304"/>
            <p:cNvSpPr>
              <a:spLocks/>
            </p:cNvSpPr>
            <p:nvPr/>
          </p:nvSpPr>
          <p:spPr bwMode="auto">
            <a:xfrm>
              <a:off x="2613026" y="2746375"/>
              <a:ext cx="414338" cy="184150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6"/>
                </a:cxn>
                <a:cxn ang="0">
                  <a:pos x="0" y="116"/>
                </a:cxn>
                <a:cxn ang="0">
                  <a:pos x="19" y="94"/>
                </a:cxn>
              </a:cxnLst>
              <a:rect l="0" t="0" r="r" b="b"/>
              <a:pathLst>
                <a:path w="261" h="116">
                  <a:moveTo>
                    <a:pt x="241" y="0"/>
                  </a:moveTo>
                  <a:lnTo>
                    <a:pt x="261" y="0"/>
                  </a:lnTo>
                  <a:lnTo>
                    <a:pt x="149" y="116"/>
                  </a:lnTo>
                  <a:lnTo>
                    <a:pt x="0" y="116"/>
                  </a:lnTo>
                  <a:lnTo>
                    <a:pt x="19" y="94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305"/>
            <p:cNvSpPr>
              <a:spLocks/>
            </p:cNvSpPr>
            <p:nvPr/>
          </p:nvSpPr>
          <p:spPr bwMode="auto">
            <a:xfrm>
              <a:off x="2613026" y="2713038"/>
              <a:ext cx="414338" cy="180975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160" y="55"/>
                </a:cxn>
                <a:cxn ang="0">
                  <a:pos x="122" y="62"/>
                </a:cxn>
                <a:cxn ang="0">
                  <a:pos x="91" y="93"/>
                </a:cxn>
                <a:cxn ang="0">
                  <a:pos x="0" y="93"/>
                </a:cxn>
                <a:cxn ang="0">
                  <a:pos x="91" y="0"/>
                </a:cxn>
                <a:cxn ang="0">
                  <a:pos x="198" y="0"/>
                </a:cxn>
              </a:cxnLst>
              <a:rect l="0" t="0" r="r" b="b"/>
              <a:pathLst>
                <a:path w="214" h="93">
                  <a:moveTo>
                    <a:pt x="214" y="0"/>
                  </a:moveTo>
                  <a:cubicBezTo>
                    <a:pt x="160" y="55"/>
                    <a:pt x="160" y="55"/>
                    <a:pt x="160" y="55"/>
                  </a:cubicBezTo>
                  <a:cubicBezTo>
                    <a:pt x="147" y="68"/>
                    <a:pt x="136" y="68"/>
                    <a:pt x="122" y="62"/>
                  </a:cubicBezTo>
                  <a:cubicBezTo>
                    <a:pt x="119" y="76"/>
                    <a:pt x="107" y="93"/>
                    <a:pt x="91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98" y="0"/>
                    <a:pt x="198" y="0"/>
                    <a:pt x="198" y="0"/>
                  </a:cubicBez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9"/>
          <p:cNvSpPr>
            <a:spLocks/>
          </p:cNvSpPr>
          <p:nvPr/>
        </p:nvSpPr>
        <p:spPr>
          <a:xfrm>
            <a:off x="3" y="659118"/>
            <a:ext cx="12188824" cy="737260"/>
          </a:xfrm>
          <a:custGeom>
            <a:avLst/>
            <a:gdLst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0 w 9906000"/>
              <a:gd name="connsiteY3" fmla="*/ 742641 h 742641"/>
              <a:gd name="connsiteX4" fmla="*/ 0 w 9906000"/>
              <a:gd name="connsiteY4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473572 w 9906000"/>
              <a:gd name="connsiteY3" fmla="*/ 737260 h 742641"/>
              <a:gd name="connsiteX4" fmla="*/ 0 w 9906000"/>
              <a:gd name="connsiteY4" fmla="*/ 742641 h 742641"/>
              <a:gd name="connsiteX5" fmla="*/ 0 w 9906000"/>
              <a:gd name="connsiteY5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877185 w 9906000"/>
              <a:gd name="connsiteY3" fmla="*/ 737260 h 742641"/>
              <a:gd name="connsiteX4" fmla="*/ 473572 w 9906000"/>
              <a:gd name="connsiteY4" fmla="*/ 737260 h 742641"/>
              <a:gd name="connsiteX5" fmla="*/ 0 w 9906000"/>
              <a:gd name="connsiteY5" fmla="*/ 742641 h 742641"/>
              <a:gd name="connsiteX6" fmla="*/ 0 w 9906000"/>
              <a:gd name="connsiteY6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10763 w 9916763"/>
              <a:gd name="connsiteY0" fmla="*/ 0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10763 w 9916763"/>
              <a:gd name="connsiteY7" fmla="*/ 0 h 737260"/>
              <a:gd name="connsiteX0" fmla="*/ 1238 w 9907238"/>
              <a:gd name="connsiteY0" fmla="*/ 0 h 737260"/>
              <a:gd name="connsiteX1" fmla="*/ 9907238 w 9907238"/>
              <a:gd name="connsiteY1" fmla="*/ 0 h 737260"/>
              <a:gd name="connsiteX2" fmla="*/ 9794226 w 9907238"/>
              <a:gd name="connsiteY2" fmla="*/ 247546 h 737260"/>
              <a:gd name="connsiteX3" fmla="*/ 9542641 w 9907238"/>
              <a:gd name="connsiteY3" fmla="*/ 365939 h 737260"/>
              <a:gd name="connsiteX4" fmla="*/ 867660 w 9907238"/>
              <a:gd name="connsiteY4" fmla="*/ 376703 h 737260"/>
              <a:gd name="connsiteX5" fmla="*/ 474810 w 9907238"/>
              <a:gd name="connsiteY5" fmla="*/ 737260 h 737260"/>
              <a:gd name="connsiteX6" fmla="*/ 0 w 9907238"/>
              <a:gd name="connsiteY6" fmla="*/ 387464 h 737260"/>
              <a:gd name="connsiteX7" fmla="*/ 1238 w 9907238"/>
              <a:gd name="connsiteY7" fmla="*/ 0 h 737260"/>
              <a:gd name="connsiteX0" fmla="*/ 20 w 9912370"/>
              <a:gd name="connsiteY0" fmla="*/ 28575 h 737260"/>
              <a:gd name="connsiteX1" fmla="*/ 9912370 w 9912370"/>
              <a:gd name="connsiteY1" fmla="*/ 0 h 737260"/>
              <a:gd name="connsiteX2" fmla="*/ 9799358 w 9912370"/>
              <a:gd name="connsiteY2" fmla="*/ 247546 h 737260"/>
              <a:gd name="connsiteX3" fmla="*/ 9547773 w 9912370"/>
              <a:gd name="connsiteY3" fmla="*/ 365939 h 737260"/>
              <a:gd name="connsiteX4" fmla="*/ 872792 w 9912370"/>
              <a:gd name="connsiteY4" fmla="*/ 376703 h 737260"/>
              <a:gd name="connsiteX5" fmla="*/ 479942 w 9912370"/>
              <a:gd name="connsiteY5" fmla="*/ 737260 h 737260"/>
              <a:gd name="connsiteX6" fmla="*/ 5132 w 9912370"/>
              <a:gd name="connsiteY6" fmla="*/ 387464 h 737260"/>
              <a:gd name="connsiteX7" fmla="*/ 20 w 9912370"/>
              <a:gd name="connsiteY7" fmla="*/ 28575 h 737260"/>
              <a:gd name="connsiteX0" fmla="*/ 4413 w 9916763"/>
              <a:gd name="connsiteY0" fmla="*/ 28575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4413 w 9916763"/>
              <a:gd name="connsiteY7" fmla="*/ 28575 h 737260"/>
              <a:gd name="connsiteX0" fmla="*/ 21 w 9912371"/>
              <a:gd name="connsiteY0" fmla="*/ 28575 h 737260"/>
              <a:gd name="connsiteX1" fmla="*/ 9912371 w 9912371"/>
              <a:gd name="connsiteY1" fmla="*/ 0 h 737260"/>
              <a:gd name="connsiteX2" fmla="*/ 9799359 w 9912371"/>
              <a:gd name="connsiteY2" fmla="*/ 247546 h 737260"/>
              <a:gd name="connsiteX3" fmla="*/ 9547774 w 9912371"/>
              <a:gd name="connsiteY3" fmla="*/ 365939 h 737260"/>
              <a:gd name="connsiteX4" fmla="*/ 872793 w 9912371"/>
              <a:gd name="connsiteY4" fmla="*/ 376703 h 737260"/>
              <a:gd name="connsiteX5" fmla="*/ 479943 w 9912371"/>
              <a:gd name="connsiteY5" fmla="*/ 737260 h 737260"/>
              <a:gd name="connsiteX6" fmla="*/ 5133 w 9912371"/>
              <a:gd name="connsiteY6" fmla="*/ 387464 h 737260"/>
              <a:gd name="connsiteX7" fmla="*/ 21 w 9912371"/>
              <a:gd name="connsiteY7" fmla="*/ 28575 h 737260"/>
              <a:gd name="connsiteX0" fmla="*/ 42 w 9912392"/>
              <a:gd name="connsiteY0" fmla="*/ 28575 h 737260"/>
              <a:gd name="connsiteX1" fmla="*/ 9912392 w 9912392"/>
              <a:gd name="connsiteY1" fmla="*/ 0 h 737260"/>
              <a:gd name="connsiteX2" fmla="*/ 9799380 w 9912392"/>
              <a:gd name="connsiteY2" fmla="*/ 247546 h 737260"/>
              <a:gd name="connsiteX3" fmla="*/ 9547795 w 9912392"/>
              <a:gd name="connsiteY3" fmla="*/ 365939 h 737260"/>
              <a:gd name="connsiteX4" fmla="*/ 872814 w 9912392"/>
              <a:gd name="connsiteY4" fmla="*/ 376703 h 737260"/>
              <a:gd name="connsiteX5" fmla="*/ 479964 w 9912392"/>
              <a:gd name="connsiteY5" fmla="*/ 737260 h 737260"/>
              <a:gd name="connsiteX6" fmla="*/ 1979 w 9912392"/>
              <a:gd name="connsiteY6" fmla="*/ 384289 h 737260"/>
              <a:gd name="connsiteX7" fmla="*/ 42 w 9912392"/>
              <a:gd name="connsiteY7" fmla="*/ 28575 h 73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392" h="737260">
                <a:moveTo>
                  <a:pt x="42" y="28575"/>
                </a:moveTo>
                <a:lnTo>
                  <a:pt x="9912392" y="0"/>
                </a:lnTo>
                <a:cubicBezTo>
                  <a:pt x="9874721" y="82515"/>
                  <a:pt x="9912392" y="73546"/>
                  <a:pt x="9799380" y="247546"/>
                </a:cubicBezTo>
                <a:lnTo>
                  <a:pt x="9547795" y="365939"/>
                </a:lnTo>
                <a:lnTo>
                  <a:pt x="872814" y="376703"/>
                </a:lnTo>
                <a:cubicBezTo>
                  <a:pt x="494315" y="475363"/>
                  <a:pt x="514047" y="670889"/>
                  <a:pt x="479964" y="737260"/>
                </a:cubicBezTo>
                <a:cubicBezTo>
                  <a:pt x="392067" y="405403"/>
                  <a:pt x="159836" y="382495"/>
                  <a:pt x="1979" y="384289"/>
                </a:cubicBezTo>
                <a:cubicBezTo>
                  <a:pt x="2392" y="255134"/>
                  <a:pt x="-371" y="157730"/>
                  <a:pt x="42" y="28575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>
              <a:solidFill>
                <a:srgbClr val="998C85">
                  <a:lumMod val="50000"/>
                </a:srgbClr>
              </a:solidFill>
              <a:latin typeface="Candara" pitchFamily="34" charset="0"/>
            </a:endParaRPr>
          </a:p>
        </p:txBody>
      </p:sp>
      <p:sp>
        <p:nvSpPr>
          <p:cNvPr id="16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8742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7114366" y="3258545"/>
            <a:ext cx="4554574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375596" y="3795713"/>
            <a:ext cx="5259611" cy="2171462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50" b="0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5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5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0"/>
              </a:rPr>
              <a:t>www.capgemini.com</a:t>
            </a:r>
            <a:r>
              <a:rPr lang="en-US" sz="105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112295" y="3635559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4420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504400" y="3119317"/>
            <a:ext cx="5241515" cy="2197606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00" b="0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0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7"/>
              </a:rPr>
              <a:t>www.capgemini.com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Image 337" descr="CBE_Label_ppt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240010" y="3104803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4466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072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1.emf"/><Relationship Id="rId26" Type="http://schemas.openxmlformats.org/officeDocument/2006/relationships/hyperlink" Target="http://www.youtube.com/capgemini" TargetMode="External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10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oleObject" Target="../embeddings/oleObject7.bin"/><Relationship Id="rId25" Type="http://schemas.openxmlformats.org/officeDocument/2006/relationships/image" Target="../media/image12.png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7.xml"/><Relationship Id="rId20" Type="http://schemas.openxmlformats.org/officeDocument/2006/relationships/hyperlink" Target="http://www.facebook.com/Capgemini" TargetMode="External"/><Relationship Id="rId29" Type="http://schemas.openxmlformats.org/officeDocument/2006/relationships/image" Target="../media/image14.gif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hyperlink" Target="http://www.twitter.com/capgemini" TargetMode="External"/><Relationship Id="rId5" Type="http://schemas.openxmlformats.org/officeDocument/2006/relationships/vmlDrawing" Target="../drawings/vmlDrawing7.vml"/><Relationship Id="rId15" Type="http://schemas.openxmlformats.org/officeDocument/2006/relationships/tags" Target="../tags/tag36.xml"/><Relationship Id="rId23" Type="http://schemas.openxmlformats.org/officeDocument/2006/relationships/image" Target="../media/image11.png"/><Relationship Id="rId28" Type="http://schemas.openxmlformats.org/officeDocument/2006/relationships/hyperlink" Target="http://www.slideshare.net/capgemini" TargetMode="External"/><Relationship Id="rId10" Type="http://schemas.openxmlformats.org/officeDocument/2006/relationships/tags" Target="../tags/tag31.xml"/><Relationship Id="rId19" Type="http://schemas.openxmlformats.org/officeDocument/2006/relationships/image" Target="../media/image5.emf"/><Relationship Id="rId4" Type="http://schemas.openxmlformats.org/officeDocument/2006/relationships/theme" Target="../theme/theme2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hyperlink" Target="http://www.linkedin.com/company/capgemini" TargetMode="External"/><Relationship Id="rId27" Type="http://schemas.openxmlformats.org/officeDocument/2006/relationships/image" Target="../media/image13.png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2" y="0"/>
            <a:ext cx="12188824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11785051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295476" y="6623404"/>
            <a:ext cx="3273786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>
                <a:solidFill>
                  <a:schemeClr val="tx2"/>
                </a:solidFill>
                <a:latin typeface="+mn-lt"/>
                <a:cs typeface="Helvetica Light"/>
              </a:rPr>
              <a:t>Copyright © Capgemini 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2018. </a:t>
            </a:r>
            <a:r>
              <a:rPr lang="en-US" altLang="en-US" sz="700" b="0" i="0" noProof="0" dirty="0">
                <a:solidFill>
                  <a:schemeClr val="tx2"/>
                </a:solidFill>
                <a:latin typeface="+mn-lt"/>
                <a:cs typeface="Helvetica Light"/>
              </a:rPr>
              <a:t>All Rights Reserved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tretch>
            <a:fillRect/>
          </a:stretch>
        </p:blipFill>
        <p:spPr bwMode="auto">
          <a:xfrm>
            <a:off x="195604" y="6443187"/>
            <a:ext cx="1419225" cy="35242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3" y="6362700"/>
            <a:ext cx="12188824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65" r:id="rId2"/>
    <p:sldLayoutId id="2147483962" r:id="rId3"/>
    <p:sldLayoutId id="2147483978" r:id="rId4"/>
    <p:sldLayoutId id="2147483934" r:id="rId5"/>
  </p:sldLayoutIdLst>
  <p:txStyles>
    <p:titleStyle>
      <a:lvl1pPr marL="285750" indent="0" algn="l" defTabSz="914342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6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2038" y="1677994"/>
            <a:ext cx="12190864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email"/>
          <a:stretch>
            <a:fillRect/>
          </a:stretch>
        </p:blipFill>
        <p:spPr bwMode="auto">
          <a:xfrm>
            <a:off x="7448543" y="1170204"/>
            <a:ext cx="3889321" cy="32288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6796897" y="6379669"/>
            <a:ext cx="5391928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© 2017 Capgemini. All rights reserved. Rightshore</a:t>
            </a:r>
            <a:r>
              <a:rPr lang="en-US" sz="700" baseline="30000" dirty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 is a trademark belonging to Capgemini</a:t>
            </a: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9265703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tretch>
            <a:fillRect/>
          </a:stretch>
        </p:blipFill>
        <p:spPr bwMode="auto">
          <a:xfrm>
            <a:off x="9768843" y="5932547"/>
            <a:ext cx="276225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4" descr="C:\Users\UserSim\Desktop\DS_icons\128x128 shadows\linkedin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tretch>
            <a:fillRect/>
          </a:stretch>
        </p:blipFill>
        <p:spPr bwMode="auto">
          <a:xfrm>
            <a:off x="1018155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5" descr="C:\Users\UserSim\Desktop\DS_icons\128x128 shadows\twitter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tretch>
            <a:fillRect/>
          </a:stretch>
        </p:blipFill>
        <p:spPr bwMode="auto">
          <a:xfrm>
            <a:off x="1095557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6" descr="C:\Users\UserSim\Desktop\DS_icons\128x128 shadows\youtube.png">
            <a:hlinkClick r:id="rId2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 cstate="email"/>
          <a:stretch>
            <a:fillRect/>
          </a:stretch>
        </p:blipFill>
        <p:spPr bwMode="auto">
          <a:xfrm>
            <a:off x="1137208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Image 22" descr="Picto_Slideshare.gif">
            <a:hlinkClick r:id="rId28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9" cstate="email"/>
          <a:stretch>
            <a:fillRect/>
          </a:stretch>
        </p:blipFill>
        <p:spPr>
          <a:xfrm>
            <a:off x="10587105" y="5918110"/>
            <a:ext cx="228600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30" cstate="email"/>
          <a:stretch>
            <a:fillRect/>
          </a:stretch>
        </p:blipFill>
        <p:spPr bwMode="auto">
          <a:xfrm>
            <a:off x="959345" y="731091"/>
            <a:ext cx="3238500" cy="76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285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5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21061" y="2632436"/>
            <a:ext cx="9163529" cy="752783"/>
          </a:xfrm>
        </p:spPr>
        <p:txBody>
          <a:bodyPr>
            <a:noAutofit/>
          </a:bodyPr>
          <a:lstStyle/>
          <a:p>
            <a:pPr marL="0"/>
            <a:r>
              <a:rPr lang="en-US" sz="3600" dirty="0" smtClean="0"/>
              <a:t>RBC – Wealth Management</a:t>
            </a:r>
            <a:endParaRPr lang="en-US" sz="3600" dirty="0"/>
          </a:p>
        </p:txBody>
      </p:sp>
      <p:sp>
        <p:nvSpPr>
          <p:cNvPr id="7" name="Subtitle 1"/>
          <p:cNvSpPr txBox="1">
            <a:spLocks/>
          </p:cNvSpPr>
          <p:nvPr/>
        </p:nvSpPr>
        <p:spPr>
          <a:xfrm>
            <a:off x="1220374" y="4958704"/>
            <a:ext cx="4762881" cy="8742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te: </a:t>
            </a:r>
            <a:fld id="{4B267769-E7CC-4703-8CE9-C8D3E650D443}" type="datetime4">
              <a:rPr lang="en-US" sz="12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t>March 14, 2018</a:t>
            </a:fld>
            <a:endParaRPr lang="en-U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41667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Stack On premises </a:t>
            </a:r>
            <a:r>
              <a:rPr lang="en-US" dirty="0" smtClean="0"/>
              <a:t>workstation </a:t>
            </a:r>
            <a:r>
              <a:rPr lang="en-US" dirty="0"/>
              <a:t>setup</a:t>
            </a:r>
            <a:br>
              <a:rPr lang="en-US" dirty="0"/>
            </a:br>
            <a:r>
              <a:rPr lang="en-US" altLang="en-US" sz="1799" i="1" dirty="0" smtClean="0">
                <a:solidFill>
                  <a:srgbClr val="197EB5"/>
                </a:solidFill>
              </a:rPr>
              <a:t>Fabric vs Corda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85761" y="1217943"/>
            <a:ext cx="956820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400" smtClean="0"/>
          </a:p>
          <a:p>
            <a:endParaRPr lang="en-US" sz="140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smtClean="0"/>
          </a:p>
          <a:p>
            <a:endParaRPr lang="en-US" sz="140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019650"/>
              </p:ext>
            </p:extLst>
          </p:nvPr>
        </p:nvGraphicFramePr>
        <p:xfrm>
          <a:off x="1253539" y="1816049"/>
          <a:ext cx="4921607" cy="37171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52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564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15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50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9339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20958">
                <a:tc gridSpan="5">
                  <a:txBody>
                    <a:bodyPr/>
                    <a:lstStyle/>
                    <a:p>
                      <a:pPr algn="ctr"/>
                      <a:r>
                        <a:rPr lang="en-US" sz="1500" dirty="0"/>
                        <a:t>Hyperledger - Fabric 1.0</a:t>
                      </a: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2791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User</a:t>
                      </a:r>
                      <a:r>
                        <a:rPr lang="en-US" sz="1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Interface</a:t>
                      </a:r>
                      <a:endParaRPr lang="en-US" sz="10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API</a:t>
                      </a: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Blockchain Network</a:t>
                      </a: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mart</a:t>
                      </a:r>
                      <a:r>
                        <a:rPr lang="en-US" sz="1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Contract</a:t>
                      </a:r>
                      <a:endParaRPr lang="en-US" sz="10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Deployment</a:t>
                      </a: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99188">
                <a:tc>
                  <a:txBody>
                    <a:bodyPr/>
                    <a:lstStyle/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b="1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96094">
                <a:tc>
                  <a:txBody>
                    <a:bodyPr/>
                    <a:lstStyle/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73026">
                <a:tc>
                  <a:txBody>
                    <a:bodyPr/>
                    <a:lstStyle/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7" name="Picture 6" descr="AngularJS_logo.svg_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0139" y="3385894"/>
            <a:ext cx="767676" cy="227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nodejs-new-pantone-black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22363" y="4228437"/>
            <a:ext cx="433387" cy="265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spring-boot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59002" y="3385894"/>
            <a:ext cx="795592" cy="227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bootstrap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07597" y="4163578"/>
            <a:ext cx="691356" cy="318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hyperledger_new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08146" y="3385892"/>
            <a:ext cx="1040668" cy="242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 descr="Golang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248814" y="3343956"/>
            <a:ext cx="806003" cy="341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 descr="java-logo-vector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03691" y="4059373"/>
            <a:ext cx="506908" cy="506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9" descr="docker.pn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123085" y="3302016"/>
            <a:ext cx="961423" cy="326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1" descr="vagrant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252341" y="4081394"/>
            <a:ext cx="515938" cy="51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3" descr="couchdb-site-white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208146" y="4184583"/>
            <a:ext cx="1053803" cy="309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4" descr="leveldb.png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10848" y="4934224"/>
            <a:ext cx="4953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0" descr="java-logo-vector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26389" y="4944773"/>
            <a:ext cx="506908" cy="506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2912753"/>
              </p:ext>
            </p:extLst>
          </p:nvPr>
        </p:nvGraphicFramePr>
        <p:xfrm>
          <a:off x="6266014" y="1816047"/>
          <a:ext cx="4656336" cy="3717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56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418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234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053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26132">
                <a:tc gridSpan="4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R3-Corda </a:t>
                      </a:r>
                      <a:r>
                        <a:rPr lang="en-US" sz="1200" dirty="0" smtClean="0"/>
                        <a:t>1.0</a:t>
                      </a:r>
                      <a:endParaRPr lang="en-US" sz="12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3915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UI/</a:t>
                      </a:r>
                      <a:r>
                        <a:rPr lang="en-US" sz="9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CordApp</a:t>
                      </a:r>
                      <a:endParaRPr lang="en-US" sz="9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  <a:p>
                      <a:pPr algn="ctr"/>
                      <a:endParaRPr lang="en-US" sz="9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Blockchain Network</a:t>
                      </a:r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mart</a:t>
                      </a:r>
                      <a:r>
                        <a:rPr lang="en-US" sz="9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Contract</a:t>
                      </a:r>
                      <a:endParaRPr lang="en-US" sz="9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Build/ Deployment</a:t>
                      </a:r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91126">
                <a:tc>
                  <a:txBody>
                    <a:bodyPr/>
                    <a:lstStyle/>
                    <a:p>
                      <a:endParaRPr lang="en-US" sz="800" dirty="0"/>
                    </a:p>
                    <a:p>
                      <a:endParaRPr lang="en-US" sz="800" dirty="0"/>
                    </a:p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b="1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86289">
                <a:tc>
                  <a:txBody>
                    <a:bodyPr/>
                    <a:lstStyle/>
                    <a:p>
                      <a:endParaRPr lang="en-US" sz="800" dirty="0"/>
                    </a:p>
                    <a:p>
                      <a:endParaRPr lang="en-US" sz="800" dirty="0"/>
                    </a:p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09721">
                <a:tc>
                  <a:txBody>
                    <a:bodyPr/>
                    <a:lstStyle/>
                    <a:p>
                      <a:endParaRPr lang="en-US" sz="800" dirty="0"/>
                    </a:p>
                    <a:p>
                      <a:endParaRPr lang="en-US" sz="800" dirty="0"/>
                    </a:p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20" name="Picture 19" descr="AngularJS_logo.svg_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1124" y="4378637"/>
            <a:ext cx="804862" cy="214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0" descr="bootstrap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2863" y="5160755"/>
            <a:ext cx="561082" cy="259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1" descr="java-logo-vector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8846" y="4063793"/>
            <a:ext cx="411461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9" descr="docker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0827" y="3243360"/>
            <a:ext cx="109507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2" descr="htmlcss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228" y="4834260"/>
            <a:ext cx="604937" cy="283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0" descr="java-logo-vector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498" y="3915905"/>
            <a:ext cx="411460" cy="41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3762" y="3299079"/>
            <a:ext cx="821631" cy="246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811" y="3311603"/>
            <a:ext cx="821631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1799" y="4130625"/>
            <a:ext cx="785514" cy="33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41" y="3231690"/>
            <a:ext cx="1078309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7910" y="4020698"/>
            <a:ext cx="499169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0" descr="bootstrap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3897" y="5198226"/>
            <a:ext cx="561082" cy="259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2" descr="htmlcss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045" y="4876989"/>
            <a:ext cx="604937" cy="283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1"/>
          <p:cNvSpPr>
            <a:spLocks noChangeArrowheads="1"/>
          </p:cNvSpPr>
          <p:nvPr/>
        </p:nvSpPr>
        <p:spPr bwMode="auto">
          <a:xfrm>
            <a:off x="2019699" y="5626839"/>
            <a:ext cx="3699088" cy="246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71450" indent="-1714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altLang="en-US" sz="1000" dirty="0">
                <a:latin typeface="+mn-lt"/>
              </a:rPr>
              <a:t>Node Communication: Peer-Peer Broadcast, HTTP2/gRPC</a:t>
            </a:r>
          </a:p>
        </p:txBody>
      </p:sp>
      <p:sp>
        <p:nvSpPr>
          <p:cNvPr id="34" name="Rectangle 1"/>
          <p:cNvSpPr>
            <a:spLocks noChangeArrowheads="1"/>
          </p:cNvSpPr>
          <p:nvPr/>
        </p:nvSpPr>
        <p:spPr bwMode="auto">
          <a:xfrm>
            <a:off x="6993347" y="5626839"/>
            <a:ext cx="3037220" cy="256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71450" indent="-1714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altLang="en-US" sz="1000" dirty="0">
                <a:latin typeface="+mn-lt"/>
              </a:rPr>
              <a:t>Node Communication: Point-to-point, AMQP1.0</a:t>
            </a:r>
            <a:endParaRPr lang="en-US" altLang="en-US" sz="10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325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velopment Platforms and Toolset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881989"/>
              </p:ext>
            </p:extLst>
          </p:nvPr>
        </p:nvGraphicFramePr>
        <p:xfrm>
          <a:off x="892686" y="1147233"/>
          <a:ext cx="10403456" cy="483166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67690"/>
                <a:gridCol w="3639671"/>
                <a:gridCol w="4196095"/>
              </a:tblGrid>
              <a:tr h="29617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Hyperledger</a:t>
                      </a:r>
                      <a:r>
                        <a:rPr lang="en-US" sz="1400" dirty="0" smtClean="0"/>
                        <a:t>-Fabric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3-Corda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Ubuntu Desktop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indows / Ubuntu Desktop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SCM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IT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IT</a:t>
                      </a:r>
                      <a:endParaRPr lang="en-US" sz="140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IDE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Eclipse-Mars</a:t>
                      </a:r>
                    </a:p>
                    <a:p>
                      <a:r>
                        <a:rPr lang="en-US" sz="1400" smtClean="0"/>
                        <a:t>ATOM,</a:t>
                      </a:r>
                      <a:r>
                        <a:rPr lang="en-US" sz="1400" baseline="0" smtClean="0"/>
                        <a:t> </a:t>
                      </a:r>
                      <a:r>
                        <a:rPr lang="en-US" sz="1400" smtClean="0"/>
                        <a:t>VS</a:t>
                      </a:r>
                      <a:r>
                        <a:rPr lang="en-US" sz="1400" baseline="0" smtClean="0"/>
                        <a:t> Code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IntelliJ</a:t>
                      </a:r>
                      <a:endParaRPr lang="en-US" sz="140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Lang/</a:t>
                      </a:r>
                    </a:p>
                    <a:p>
                      <a:r>
                        <a:rPr lang="en-US" sz="1400" b="1" dirty="0" smtClean="0"/>
                        <a:t>Framework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abric 1.0</a:t>
                      </a:r>
                    </a:p>
                    <a:p>
                      <a:r>
                        <a:rPr lang="en-US" sz="1400" dirty="0" smtClean="0"/>
                        <a:t>GO Lang</a:t>
                      </a:r>
                    </a:p>
                    <a:p>
                      <a:r>
                        <a:rPr lang="en-US" sz="1400" dirty="0" smtClean="0"/>
                        <a:t>Node J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orda-1.0</a:t>
                      </a:r>
                    </a:p>
                    <a:p>
                      <a:r>
                        <a:rPr lang="en-US" sz="1400" dirty="0" err="1" smtClean="0"/>
                        <a:t>Kotlin</a:t>
                      </a:r>
                      <a:endParaRPr lang="en-US" sz="1400" dirty="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ommon frameworks and tools</a:t>
                      </a:r>
                      <a:endParaRPr lang="en-US" sz="14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400" dirty="0" smtClean="0"/>
                        <a:t>JDK 8 and above, Spring, AngularJS, </a:t>
                      </a:r>
                      <a:r>
                        <a:rPr lang="en-US" sz="1400" dirty="0" err="1" smtClean="0"/>
                        <a:t>BootStrap</a:t>
                      </a:r>
                      <a:r>
                        <a:rPr lang="en-US" sz="1400" dirty="0" smtClean="0"/>
                        <a:t>, Postman, Junit, </a:t>
                      </a:r>
                      <a:r>
                        <a:rPr lang="en-US" sz="1400" dirty="0" err="1" smtClean="0"/>
                        <a:t>Mockito</a:t>
                      </a:r>
                      <a:r>
                        <a:rPr lang="en-US" sz="1400" dirty="0" smtClean="0"/>
                        <a:t>, Cucumber, </a:t>
                      </a:r>
                      <a:r>
                        <a:rPr lang="en-US" sz="1400" dirty="0" err="1" smtClean="0"/>
                        <a:t>GitBash</a:t>
                      </a:r>
                      <a:r>
                        <a:rPr lang="en-US" sz="1400" dirty="0" smtClean="0"/>
                        <a:t> CLI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10825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ev Tool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abric-Composer,  Fabric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Playground</a:t>
                      </a:r>
                    </a:p>
                    <a:p>
                      <a:r>
                        <a:rPr lang="en-US" sz="1400" dirty="0" smtClean="0"/>
                        <a:t>Node,</a:t>
                      </a:r>
                      <a:r>
                        <a:rPr lang="en-US" sz="1400" baseline="0" dirty="0" smtClean="0"/>
                        <a:t> NPM ,  </a:t>
                      </a:r>
                      <a:r>
                        <a:rPr lang="en-US" sz="1400" dirty="0" smtClean="0"/>
                        <a:t>Python 2.7</a:t>
                      </a:r>
                    </a:p>
                    <a:p>
                      <a:r>
                        <a:rPr lang="en-US" sz="1400" dirty="0" smtClean="0"/>
                        <a:t>Yeoman,  Mocha/Chai,  </a:t>
                      </a:r>
                      <a:r>
                        <a:rPr lang="en-US" sz="1400" dirty="0" err="1" smtClean="0"/>
                        <a:t>JSLint</a:t>
                      </a:r>
                      <a:r>
                        <a:rPr lang="en-US" sz="1400" dirty="0" smtClean="0"/>
                        <a:t>,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baseline="0" dirty="0" err="1" smtClean="0"/>
                        <a:t>ESLi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Korda DSL</a:t>
                      </a:r>
                      <a:endParaRPr lang="en-US" sz="140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ompile / Build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radle, NPM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radle</a:t>
                      </a:r>
                      <a:endParaRPr lang="en-US" sz="140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Packag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Docker 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Docker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/>
                        <a:t>Deploy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smtClean="0"/>
                        <a:t>AWS/Azure</a:t>
                      </a:r>
                      <a:endParaRPr lang="en-US" sz="1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/>
                        <a:t>Agile/ALM Tools/DevOps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 smtClean="0"/>
                        <a:t>JIRA, Jenkin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416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626761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14275</TotalTime>
  <Words>148</Words>
  <Application>Microsoft Office PowerPoint</Application>
  <PresentationFormat>Custom</PresentationFormat>
  <Paragraphs>6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ndara</vt:lpstr>
      <vt:lpstr>Helvetica Light</vt:lpstr>
      <vt:lpstr>Times New Roman</vt:lpstr>
      <vt:lpstr>Wingdings</vt:lpstr>
      <vt:lpstr>PPT Template</vt:lpstr>
      <vt:lpstr>1_Closing slides</vt:lpstr>
      <vt:lpstr>think-cell Slide</vt:lpstr>
      <vt:lpstr>RBC – Wealth Management</vt:lpstr>
      <vt:lpstr>Technology Stack On premises workstation setup Fabric vs Corda</vt:lpstr>
      <vt:lpstr>Development Platforms and Toolset</vt:lpstr>
      <vt:lpstr>PowerPoint Presentation</vt:lpstr>
    </vt:vector>
  </TitlesOfParts>
  <Company>Capgemini GC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Patil, Sachin</cp:lastModifiedBy>
  <cp:revision>487</cp:revision>
  <cp:lastPrinted>2017-06-08T03:45:40Z</cp:lastPrinted>
  <dcterms:created xsi:type="dcterms:W3CDTF">2015-03-06T11:43:58Z</dcterms:created>
  <dcterms:modified xsi:type="dcterms:W3CDTF">2018-03-14T07:55:07Z</dcterms:modified>
</cp:coreProperties>
</file>